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129_0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2"/>
  </p:sldMasterIdLst>
  <p:notesMasterIdLst>
    <p:notesMasterId r:id="rId14"/>
  </p:notesMasterIdLst>
  <p:sldIdLst>
    <p:sldId id="297" r:id="rId13"/>
  </p:sldIdLst>
  <p:sldSz cx="9144000" cy="5143500" type="screen16x9"/>
  <p:notesSz cx="6858000" cy="9144000"/>
  <p:embeddedFontLst>
    <p:embeddedFont>
      <p:font typeface="Exo" panose="020B0604020202020204" charset="0"/>
      <p:regular r:id="rId15"/>
      <p:bold r:id="rId16"/>
      <p:italic r:id="rId17"/>
      <p:boldItalic r:id="rId18"/>
    </p:embeddedFont>
    <p:embeddedFont>
      <p:font typeface="Playfair Display SemiBold" panose="020B0604020202020204" charset="0"/>
      <p:regular r:id="rId19"/>
      <p:bold r:id="rId20"/>
      <p:italic r:id="rId21"/>
      <p:boldItalic r:id="rId2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6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91" y="91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89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font" Target="fonts/font3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87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font" Target="fonts/font1.fntdata"/><Relationship Id="rId90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font" Target="fonts/font5.fntdata"/><Relationship Id="rId86" Type="http://customschemas.google.com/relationships/presentationmetadata" Target="meta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/Relationships>
</file>

<file path=ppt/comments/modernComment_129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6B4E396-009C-4192-8575-BB39E555276E}" authorId="{EC28B4B0-6701-2EAD-4AFD-41CFFF8EDE08}" created="2025-05-19T21:26:39.244">
    <pc:sldMkLst xmlns:pc="http://schemas.microsoft.com/office/powerpoint/2013/main/command">
      <pc:docMk/>
      <pc:sldMk cId="0" sldId="297"/>
    </pc:sldMkLst>
    <p188:txBody>
      <a:bodyPr/>
      <a:lstStyle/>
      <a:p>
        <a:r>
          <a:rPr lang="en-US"/>
          <a:t>Remove the logo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9" name="Google Shape;969;g2ecbd9d9bc7_0_104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70" name="Google Shape;970;g2ecbd9d9bc7_0_104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29_0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" name="Google Shape;972;g2ecbd9d9bc7_0_1047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3" name="Google Shape;973;g2ecbd9d9bc7_0_1047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974" name="Google Shape;974;g2ecbd9d9bc7_0_1047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975" name="Google Shape;975;g2ecbd9d9bc7_0_1047"/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Start-up deep-dive: Lightmatter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976" name="Google Shape;976;g2ecbd9d9bc7_0_1047"/>
          <p:cNvSpPr/>
          <p:nvPr/>
        </p:nvSpPr>
        <p:spPr>
          <a:xfrm>
            <a:off x="311150" y="1276350"/>
            <a:ext cx="914400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br>
              <a:rPr lang="en-US"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77" name="Google Shape;977;g2ecbd9d9bc7_0_1047" descr="Lightmatter® - The photonic (super ..."/>
          <p:cNvPicPr preferRelativeResize="0"/>
          <p:nvPr/>
        </p:nvPicPr>
        <p:blipFill rotWithShape="1">
          <a:blip r:embed="rId5">
            <a:alphaModFix/>
          </a:blip>
          <a:srcRect t="23378" r="219" b="21510"/>
          <a:stretch/>
        </p:blipFill>
        <p:spPr>
          <a:xfrm>
            <a:off x="6365559" y="906780"/>
            <a:ext cx="2138362" cy="1181100"/>
          </a:xfrm>
          <a:prstGeom prst="rect">
            <a:avLst/>
          </a:prstGeom>
          <a:noFill/>
          <a:ln>
            <a:noFill/>
          </a:ln>
        </p:spPr>
      </p:pic>
      <p:sp>
        <p:nvSpPr>
          <p:cNvPr id="978" name="Google Shape;978;g2ecbd9d9bc7_0_1047"/>
          <p:cNvSpPr txBox="1"/>
          <p:nvPr/>
        </p:nvSpPr>
        <p:spPr>
          <a:xfrm>
            <a:off x="457201" y="1098586"/>
            <a:ext cx="4297800" cy="203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71450" marR="0" lvl="0" indent="-171450" algn="l" rtl="0">
              <a:lnSpc>
                <a:spcPct val="115000"/>
              </a:lnSpc>
              <a:spcBef>
                <a:spcPts val="18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ounded in 2017</a:t>
            </a:r>
            <a:endParaRPr dirty="0"/>
          </a:p>
          <a:p>
            <a:pPr marL="171450" marR="0" lvl="0" indent="-171450" algn="l" rtl="0">
              <a:lnSpc>
                <a:spcPct val="115000"/>
              </a:lnSpc>
              <a:spcBef>
                <a:spcPts val="18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Headquartered in California, USA</a:t>
            </a:r>
            <a:endParaRPr dirty="0"/>
          </a:p>
          <a:p>
            <a:pPr marL="171450" marR="0" lvl="0" indent="-171450" algn="l" rtl="0">
              <a:lnSpc>
                <a:spcPct val="115000"/>
              </a:lnSpc>
              <a:spcBef>
                <a:spcPts val="18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Valued at $1.2billion</a:t>
            </a:r>
            <a:endParaRPr dirty="0"/>
          </a:p>
          <a:p>
            <a:pPr marL="171450" marR="0" lvl="0" indent="-171450" algn="l" rtl="0">
              <a:lnSpc>
                <a:spcPct val="115000"/>
              </a:lnSpc>
              <a:spcBef>
                <a:spcPts val="18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Developer of a light-powered chip designed to speed up artificial intelligence-driven computations by orders of magnitude</a:t>
            </a:r>
            <a:endParaRPr dirty="0"/>
          </a:p>
          <a:p>
            <a:pPr marL="171450" marR="0" lvl="0" indent="-171450" algn="l" rtl="0">
              <a:lnSpc>
                <a:spcPct val="115000"/>
              </a:lnSpc>
              <a:spcBef>
                <a:spcPts val="18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Key investors include Google Ventures, SIP Global Partners, Aliya Capital Partners, Hewlett Packard, and Fidelity</a:t>
            </a:r>
            <a:endParaRPr sz="1400" b="0" i="0" u="none" strike="noStrike" cap="none" dirty="0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979" name="Google Shape;979;g2ecbd9d9bc7_0_1047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824221" y="2674620"/>
            <a:ext cx="2862579" cy="171096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464824E4-1480-4F10-B6F2-B703E240FC06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E23B069F-071A-4D48-96A2-533991D8037B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1</TotalTime>
  <Words>54</Words>
  <Application>Microsoft Office PowerPoint</Application>
  <PresentationFormat>On-screen Show (16:9)</PresentationFormat>
  <Paragraphs>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Exo</vt:lpstr>
      <vt:lpstr>Playfair Display SemiBold</vt:lpstr>
      <vt:lpstr>Arial</vt:lpstr>
      <vt:lpstr>1_Simple Light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6</cp:revision>
  <dcterms:modified xsi:type="dcterms:W3CDTF">2025-09-24T16:26:52Z</dcterms:modified>
</cp:coreProperties>
</file>